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5"/>
  </p:notesMasterIdLst>
  <p:handoutMasterIdLst>
    <p:handoutMasterId r:id="rId16"/>
  </p:handoutMasterIdLst>
  <p:sldIdLst>
    <p:sldId id="1229" r:id="rId2"/>
    <p:sldId id="1334" r:id="rId3"/>
    <p:sldId id="1323" r:id="rId4"/>
    <p:sldId id="1324" r:id="rId5"/>
    <p:sldId id="1326" r:id="rId6"/>
    <p:sldId id="1325" r:id="rId7"/>
    <p:sldId id="1327" r:id="rId8"/>
    <p:sldId id="1328" r:id="rId9"/>
    <p:sldId id="1329" r:id="rId10"/>
    <p:sldId id="1330" r:id="rId11"/>
    <p:sldId id="1331" r:id="rId12"/>
    <p:sldId id="1332" r:id="rId13"/>
    <p:sldId id="1333" r:id="rId14"/>
  </p:sldIdLst>
  <p:sldSz cx="9906000" cy="6858000" type="A4"/>
  <p:notesSz cx="6794500" cy="9931400"/>
  <p:custShowLst>
    <p:custShow name="Custom Show 1" id="0">
      <p:sldLst/>
    </p:custShow>
  </p:custShowLst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00" autoAdjust="0"/>
    <p:restoredTop sz="95252" autoAdjust="0"/>
  </p:normalViewPr>
  <p:slideViewPr>
    <p:cSldViewPr>
      <p:cViewPr varScale="1">
        <p:scale>
          <a:sx n="105" d="100"/>
          <a:sy n="105" d="100"/>
        </p:scale>
        <p:origin x="-1136" y="-11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printerSettings" Target="printerSettings/printerSettings1.bin"/><Relationship Id="rId18" Type="http://schemas.openxmlformats.org/officeDocument/2006/relationships/tags" Target="tags/tag1.xml"/><Relationship Id="rId1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7/8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7/8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3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smtClean="0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8/24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.png"/><Relationship Id="rId3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349347"/>
            <a:ext cx="9001249" cy="3508653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arametric Reforms in Germany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y</a:t>
            </a:r>
            <a:endParaRPr lang="en-GB" sz="24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2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rof.</a:t>
            </a:r>
            <a:r>
              <a:rPr lang="en-GB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</a:t>
            </a:r>
            <a:r>
              <a:rPr lang="en-GB" sz="2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Dr.</a:t>
            </a:r>
            <a:r>
              <a:rPr lang="en-GB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Heinz-Dietrich </a:t>
            </a:r>
            <a:r>
              <a:rPr lang="en-GB" sz="2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teinmeyer</a:t>
            </a:r>
            <a:endParaRPr lang="en-GB" sz="24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altLang="zh-CN" sz="24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Beijing 29 </a:t>
            </a:r>
            <a:r>
              <a:rPr lang="it-IT" altLang="zh-CN" sz="24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ugust </a:t>
            </a:r>
            <a:r>
              <a:rPr lang="it-IT" altLang="zh-CN" sz="2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2017</a:t>
            </a:r>
            <a:endParaRPr lang="en-GB" sz="24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德国养老金参数改革</a:t>
            </a:r>
            <a:endParaRPr lang="en-GB" altLang="zh-CN" sz="24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zh-CN" sz="2400" b="1" dirty="0" smtClean="0"/>
              <a:t>施坦梅尔</a:t>
            </a:r>
            <a:r>
              <a:rPr lang="zh-CN" altLang="zh-CN" sz="2400" b="1" dirty="0"/>
              <a:t>·海因茨</a:t>
            </a:r>
            <a:r>
              <a:rPr lang="en-US" altLang="zh-CN" sz="2400" b="1" dirty="0"/>
              <a:t>-</a:t>
            </a:r>
            <a:r>
              <a:rPr lang="zh-CN" altLang="zh-CN" sz="2400" b="1" dirty="0"/>
              <a:t>迪特里希</a:t>
            </a:r>
            <a:r>
              <a:rPr lang="zh-CN" altLang="zh-CN" sz="2400" dirty="0"/>
              <a:t> </a:t>
            </a:r>
            <a:r>
              <a:rPr lang="zh-CN" altLang="en-US" sz="2400" dirty="0" smtClean="0"/>
              <a:t>教授</a:t>
            </a:r>
            <a:endParaRPr lang="it-IT" sz="24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altLang="zh-CN" sz="2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7</a:t>
            </a:r>
            <a:r>
              <a:rPr lang="zh-CN" altLang="en-US" sz="2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年</a:t>
            </a:r>
            <a:r>
              <a:rPr lang="en-US" altLang="zh-CN" sz="2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8</a:t>
            </a:r>
            <a:r>
              <a:rPr lang="zh-CN" altLang="en-US" sz="2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月</a:t>
            </a:r>
            <a:r>
              <a:rPr lang="en-US" altLang="zh-CN" sz="2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9</a:t>
            </a:r>
            <a:r>
              <a:rPr lang="zh-CN" altLang="en-US" sz="2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日</a:t>
            </a:r>
            <a:endParaRPr lang="it-IT" sz="24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7668381" y="460828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32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s</a:t>
            </a:r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zh-CN" altLang="en-US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改革</a:t>
            </a:r>
            <a:endParaRPr lang="de-DE" sz="3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</a:t>
            </a:r>
            <a:r>
              <a:rPr lang="de-DE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4</a:t>
            </a:r>
            <a:r>
              <a:rPr lang="de-DE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?)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dditional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nses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a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p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ack?</a:t>
            </a:r>
          </a:p>
          <a:p>
            <a:pPr marL="0" indent="0">
              <a:buNone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4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的改革（？）包含额外的开支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——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一种倒退？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alt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 the so-called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ütterrente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</a:t>
            </a:r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处理所谓的M</a:t>
            </a:r>
            <a:r>
              <a:rPr lang="en-US" altLang="zh-CN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ü</a:t>
            </a:r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terrente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same number of pension credits for</a:t>
            </a:r>
          </a:p>
          <a:p>
            <a:pPr marL="0" indent="0">
              <a:buNone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children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births before 1992 as 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already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births after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at date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在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92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之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前出生的孩子享受的养老金额度和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92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后出生的孩子持平</a:t>
            </a:r>
            <a:endParaRPr lang="en-US" altLang="zh-CN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oversial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blematic </a:t>
            </a: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争议和问题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Introduction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 early retirement at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</a:t>
            </a: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3 without actuarial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ductions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在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3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岁时提前退休，没有精算减免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Limited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certain age cohorts and 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requires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ditional conditions to be met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限于一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定年龄的人群，需要满足更多的条件。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48499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32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s</a:t>
            </a:r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zh-CN" altLang="en-US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改革</a:t>
            </a:r>
            <a:endParaRPr lang="de-DE" sz="3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s in </a:t>
            </a:r>
            <a:r>
              <a:rPr lang="en-US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6/17 </a:t>
            </a:r>
          </a:p>
          <a:p>
            <a:pPr marL="0" indent="0">
              <a:buNone/>
            </a:pPr>
            <a:r>
              <a:rPr lang="en-US" altLang="zh-CN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zh-CN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2016-2017</a:t>
            </a:r>
            <a:r>
              <a:rPr lang="zh-CN" altLang="en-US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的改革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a more flexible transition to retirement and on prevention and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habilitatio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更灵活的退休政策法案以及预防和康复法案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also enables to work longer and part-</a:t>
            </a: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time parallel to receiving pension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也可以延长工作时间和兼职的方式来领取养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老金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may also increase pension by working</a:t>
            </a: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longer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也可以通过延长工作时间增加养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老金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very recent reform will finally unify the rules for pensions between East Germany and West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rmany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最近的这次改革将最终统一东德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和西德之间的养老金规则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12276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32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clusion</a:t>
            </a:r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zh-CN" altLang="en-US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结论</a:t>
            </a:r>
            <a:endParaRPr lang="de-DE" sz="3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ameters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参数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ions</a:t>
            </a: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x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oney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缴费和税金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de-DE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tting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ts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削减福利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tirement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ge              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退休年龄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gher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ions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dditional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x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ney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没有更高的缴费或额外的税金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t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但是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ndments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t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mula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对福利公式的修正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(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stainability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ctor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（可持续性的因素）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reasing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tirement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（延长退休年龄）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ensating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sses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ivate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isions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用私人补贴补偿损失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veretheless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wer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lacement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ate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wer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ome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ld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此外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——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低替代率和老年低收入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88721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32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clusion</a:t>
            </a:r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zh-CN" altLang="en-US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结论</a:t>
            </a:r>
            <a:endParaRPr lang="de-DE" sz="3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blic </a:t>
            </a: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nsion insurance can no longer be the only source of income in old 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</a:t>
            </a:r>
          </a:p>
          <a:p>
            <a:pPr marL="0" indent="0">
              <a:buNone/>
            </a:pPr>
            <a:r>
              <a:rPr lang="en-US" altLang="zh-CN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zh-CN" alt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公共养老保险</a:t>
            </a:r>
            <a:r>
              <a:rPr lang="zh-CN" alt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不再是老年人唯一的收入来源</a:t>
            </a:r>
            <a:endParaRPr lang="en-US" sz="2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refore Germany just 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ently </a:t>
            </a: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iderably improved the system of supplementary – occupational – pensions and tries to improve coverage also among employees of small and medium-sized companies. </a:t>
            </a:r>
            <a:endParaRPr lang="en-US" sz="2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altLang="zh-CN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zh-CN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zh-CN" alt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因</a:t>
            </a:r>
            <a:r>
              <a:rPr lang="zh-CN" alt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此，德国最近在很大程度上改进了补充职业</a:t>
            </a:r>
            <a:r>
              <a:rPr lang="en-US" altLang="zh-CN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lang="zh-CN" alt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养老金制度</a:t>
            </a:r>
            <a:r>
              <a:rPr lang="zh-CN" alt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，</a:t>
            </a:r>
            <a:r>
              <a:rPr lang="zh-CN" alt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并设法扩大中小企业雇员</a:t>
            </a:r>
            <a:r>
              <a:rPr lang="zh-CN" alt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的保险范围。</a:t>
            </a:r>
            <a:endParaRPr lang="en-US" sz="2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 </a:t>
            </a: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dition people are advised to save for retirement themselves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0" indent="0">
              <a:buNone/>
            </a:pP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zh-CN" alt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此外，应对退休问题，建议人们自己也要储存积蓄。</a:t>
            </a:r>
            <a:endParaRPr lang="de-DE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53775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32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roduction</a:t>
            </a:r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zh-CN" altLang="en-US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简介</a:t>
            </a:r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de-DE" sz="3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6370" y="980660"/>
            <a:ext cx="8994330" cy="5328659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ng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ablished pension system consisting of three tiers (or layers)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   </a:t>
            </a:r>
          </a:p>
          <a:p>
            <a:pPr marL="0" indent="0">
              <a:buNone/>
            </a:pP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长期养老金制度共分为三层：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blic insurance pension,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公共保险养老金，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ementary pensions – usually provided by the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ployer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</a:p>
          <a:p>
            <a:pPr marL="0" indent="0">
              <a:buNone/>
            </a:pP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补充养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老金 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 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通常由雇主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提供，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sonal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vings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。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个人存款。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blic system: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公共系统：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PAYG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 of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57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自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57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起的现收现付制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Replacement Rate aimed at about 60 %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替代率达到约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0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％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financed by contributions              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通过缴费筹资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currently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.7 % of income to be shared between 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employer and employee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 50 % each 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目前占收入的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.7 %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，雇主和雇员各负责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0 %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plus state subsidies of about 75 Billion € per year. 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加上国家每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补贴约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5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亿欧元。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Total expenditures 300 billion € per year (2017)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总支出每年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00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亿欧元（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7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）。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de-D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52866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 fontScale="90000"/>
          </a:bodyPr>
          <a:lstStyle/>
          <a:p>
            <a:pPr algn="ctr"/>
            <a:r>
              <a:rPr lang="de-DE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in </a:t>
            </a:r>
            <a:r>
              <a:rPr lang="de-DE" sz="28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racteristics</a:t>
            </a:r>
            <a:r>
              <a:rPr lang="de-DE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de-DE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zh-CN" alt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主要特征</a:t>
            </a:r>
            <a:endParaRPr lang="de-DE" sz="2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vered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 the system are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该制度包含：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</a:t>
            </a:r>
            <a:r>
              <a:rPr 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l </a:t>
            </a: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ers gainfully employed as well as </a:t>
            </a:r>
            <a:endParaRPr lang="en-US" sz="28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certain </a:t>
            </a: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lf-employed. </a:t>
            </a:r>
            <a:endParaRPr lang="en-US" sz="28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altLang="zh-CN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</a:t>
            </a:r>
            <a:r>
              <a:rPr lang="zh-CN" alt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所有有偿雇佣工人，还包括一些个体经营（自雇）者</a:t>
            </a:r>
            <a:r>
              <a:rPr lang="zh-CN" alt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。</a:t>
            </a:r>
            <a:endParaRPr lang="en-US" sz="28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Not </a:t>
            </a: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vered by this system are public </a:t>
            </a:r>
            <a:endParaRPr lang="en-US" sz="28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officials who are covered by  </a:t>
            </a: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special </a:t>
            </a:r>
            <a:endParaRPr lang="en-US" sz="28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retirement </a:t>
            </a: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stem. </a:t>
            </a:r>
            <a:endParaRPr lang="en-US" sz="28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</a:t>
            </a:r>
            <a:r>
              <a:rPr lang="zh-CN" alt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政府官员不在此制度内，而在另一专门退休制度中。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system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ides benefits for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该制度提供福利给：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</a:t>
            </a: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ld age                                           </a:t>
            </a:r>
            <a:r>
              <a:rPr lang="zh-CN" alt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老年人员</a:t>
            </a:r>
            <a:r>
              <a:rPr lang="en-US" altLang="zh-CN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partial and full invalidity </a:t>
            </a:r>
            <a:r>
              <a:rPr 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</a:t>
            </a:r>
            <a:r>
              <a:rPr lang="zh-CN" alt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zh-CN" alt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残障人员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death. </a:t>
            </a:r>
            <a:r>
              <a:rPr 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                               </a:t>
            </a:r>
            <a:r>
              <a:rPr lang="zh-CN" alt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亡故人员</a:t>
            </a:r>
            <a:endParaRPr lang="en-US" sz="2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rehabilitation </a:t>
            </a:r>
            <a:r>
              <a:rPr 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asures                     </a:t>
            </a:r>
            <a:r>
              <a:rPr lang="zh-CN" altLang="en-US" sz="2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康复措施</a:t>
            </a:r>
            <a:endParaRPr lang="de-DE" sz="2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70943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in </a:t>
            </a:r>
            <a:r>
              <a:rPr lang="de-DE" sz="32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racteristics</a:t>
            </a:r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zh-CN" altLang="en-US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主要特征</a:t>
            </a:r>
            <a:endParaRPr lang="de-DE" sz="3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irement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 currently (2017)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5 years and 6 months.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当前退休年龄（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7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）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5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岁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个月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alifying period of at least 5 years of contribution</a:t>
            </a:r>
          </a:p>
          <a:p>
            <a:pPr marL="0" indent="0">
              <a:buNone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至少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的缴费期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culation of benefits is contribution-based</a:t>
            </a: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基于缴费基础的福利计算方式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ject to contributions are only the first 6.350 € of monthly gross income (upper earnings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eshold) </a:t>
            </a:r>
          </a:p>
          <a:p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只有每月总收入的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350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欧元部分，才作为缴费基础（此为收入门槛）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benefit formula is aimed to provide a pension in relation to income from work during the working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er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福利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公式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旨在为在整个工作生涯中的工作收入计算养老金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uarial factor in case of early retirement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提前退休情况中的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精算因素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ts taxable as income and contributions tax-deductible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利润纳税收入和缴费免税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61768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32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s</a:t>
            </a:r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zh-CN" altLang="en-US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改革</a:t>
            </a:r>
            <a:endParaRPr lang="de-DE" sz="3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44363" y="1628800"/>
            <a:ext cx="4392613" cy="4104455"/>
          </a:xfrm>
          <a:prstGeom prst="rect">
            <a:avLst/>
          </a:prstGeom>
        </p:spPr>
      </p:pic>
      <p:pic>
        <p:nvPicPr>
          <p:cNvPr id="6" name="Bild 4" descr="Ähnliches Foto"/>
          <p:cNvPicPr>
            <a:picLocks noGrp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1" y="1124744"/>
            <a:ext cx="4502150" cy="44148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2451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36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s</a:t>
            </a:r>
            <a:r>
              <a:rPr lang="de-DE" sz="36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zh-CN" altLang="en-US" sz="36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改革</a:t>
            </a:r>
            <a:endParaRPr lang="de-DE" sz="36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in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sue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graphics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ancing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主要问题 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人口和筹资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Higher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ibutions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r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x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sidies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marL="0" indent="0">
              <a:buNone/>
            </a:pPr>
            <a:r>
              <a:rPr lang="de-DE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–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</a:t>
            </a:r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oice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     更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高的缴费或税收补贴</a:t>
            </a:r>
            <a:endParaRPr lang="zh-CN" alt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        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 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没有选择</a:t>
            </a:r>
            <a:endParaRPr lang="de-DE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jor reform in </a:t>
            </a:r>
            <a:r>
              <a:rPr lang="en-US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1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altLang="zh-CN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2001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重大改革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Need to </a:t>
            </a:r>
            <a:r>
              <a:rPr lang="en-US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t benefits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 amending the</a:t>
            </a: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benefit formula (indexing)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通过修改福利公式（索引）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来</a:t>
            </a:r>
            <a:r>
              <a:rPr lang="zh-CN" altLang="en-US" b="1" dirty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削减福利</a:t>
            </a:r>
            <a:endParaRPr lang="en-US" b="1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compensated by a voluntary private</a:t>
            </a: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system (</a:t>
            </a:r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ester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ension)</a:t>
            </a: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私人自愿补偿</a:t>
            </a:r>
            <a:endParaRPr lang="de-DE" altLang="zh-CN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de-DE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制度（李斯特养老金）</a:t>
            </a:r>
            <a:endParaRPr lang="en-US" altLang="zh-CN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2261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32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s</a:t>
            </a:r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zh-CN" altLang="en-US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改革</a:t>
            </a:r>
            <a:endParaRPr lang="de-DE" sz="3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form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5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kind of follow-up of the reform of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1   </a:t>
            </a:r>
            <a:r>
              <a:rPr lang="en-US" altLang="zh-CN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5</a:t>
            </a:r>
            <a:r>
              <a:rPr lang="zh-CN" altLang="en-US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改革是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1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改革的后续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Act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Sustainability of Public Pension 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Insurance introduced sustainability factor</a:t>
            </a: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which shares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demographic risk 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between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tirees and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rkers.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《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公共养老保险可持续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性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法案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》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引入了可持续发展因素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，分担了退休人员与员工之间的人口风险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。</a:t>
            </a:r>
            <a:endParaRPr lang="en-US" altLang="zh-CN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kind of </a:t>
            </a:r>
            <a:r>
              <a:rPr lang="en-US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tting benefits</a:t>
            </a:r>
          </a:p>
          <a:p>
            <a:pPr marL="0" indent="0">
              <a:buNone/>
            </a:pPr>
            <a:r>
              <a:rPr lang="en-US" altLang="zh-CN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</a:t>
            </a:r>
            <a:r>
              <a:rPr lang="zh-CN" altLang="en-US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削减福利</a:t>
            </a:r>
            <a:endParaRPr lang="en-US" b="1" dirty="0" smtClean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Self-stabilizing effect      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自稳定效应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works “automatically”     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“自动”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Non-controversial            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无争议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Such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stabilizing measure was necessary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这种稳定措施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是必要的。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But: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lacement rate decreased further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但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是，替代率进一步下降。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57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32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s</a:t>
            </a:r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zh-CN" altLang="en-US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改革</a:t>
            </a:r>
            <a:endParaRPr lang="de-DE" sz="3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 in </a:t>
            </a:r>
            <a:r>
              <a:rPr lang="en-US" sz="2400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6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n </a:t>
            </a:r>
            <a:r>
              <a:rPr lang="en-US" sz="2400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xation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ules due to a decision of Federal Constitutional Court</a:t>
            </a:r>
          </a:p>
          <a:p>
            <a:r>
              <a:rPr lang="zh-CN" alt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根据德国联邦宪法法院的决定，</a:t>
            </a:r>
            <a:r>
              <a:rPr lang="en-US" altLang="zh-CN" sz="24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6</a:t>
            </a:r>
            <a:r>
              <a:rPr lang="zh-CN" altLang="en-US" sz="24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</a:t>
            </a:r>
            <a:r>
              <a:rPr lang="zh-CN" alt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对</a:t>
            </a:r>
            <a:r>
              <a:rPr lang="zh-CN" altLang="en-US" sz="2400" b="1" dirty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税收制度</a:t>
            </a:r>
            <a:r>
              <a:rPr lang="zh-CN" alt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进行了改革</a:t>
            </a:r>
            <a:endParaRPr lang="en-US" altLang="zh-CN" sz="2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endParaRPr lang="en-US" sz="2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so </a:t>
            </a:r>
            <a:r>
              <a:rPr 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rmonized the German taxation rules substantially with the taxation rules of most other countries which in general make expenses for pensions tax deductible and tax pensions after retirement as 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ome</a:t>
            </a:r>
          </a:p>
          <a:p>
            <a:r>
              <a:rPr lang="zh-CN" alt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此外，还参照其他</a:t>
            </a:r>
            <a:r>
              <a:rPr lang="zh-CN" alt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国家的税收制度对德</a:t>
            </a:r>
            <a:r>
              <a:rPr lang="zh-CN" alt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国的税收制度进行调</a:t>
            </a:r>
            <a:r>
              <a:rPr lang="zh-CN" altLang="en-U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整，</a:t>
            </a:r>
            <a:r>
              <a:rPr lang="zh-CN" alt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这些国家大多将养老金的免税额和退休后的养老金作为收入。</a:t>
            </a:r>
            <a:endParaRPr lang="de-DE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0102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e-DE" sz="32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s</a:t>
            </a:r>
            <a:r>
              <a:rPr lang="de-DE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zh-CN" altLang="en-US" sz="32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改革</a:t>
            </a:r>
            <a:endParaRPr lang="de-DE" sz="3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de-D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orm in</a:t>
            </a:r>
            <a:r>
              <a:rPr lang="de-DE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007  </a:t>
            </a:r>
          </a:p>
          <a:p>
            <a:pPr marL="0" indent="0">
              <a:buNone/>
            </a:pPr>
            <a:r>
              <a:rPr lang="de-DE" altLang="zh-CN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altLang="zh-CN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altLang="zh-CN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7</a:t>
            </a:r>
            <a:r>
              <a:rPr lang="zh-CN" altLang="en-US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的改革</a:t>
            </a:r>
            <a:endParaRPr lang="de-DE" b="1" dirty="0" smtClean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Adjustment of </a:t>
            </a:r>
            <a:r>
              <a:rPr lang="en-US" b="1" dirty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tirement </a:t>
            </a:r>
            <a:r>
              <a:rPr lang="en-US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ised the normal retirement age from 65 to 67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通过退休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龄调整法规将退休年龄由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5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岁提高至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7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岁。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th transition period – finally at 67 in 2030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过渡时期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——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到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30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年达到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7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岁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ve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s been highly controversial – not among the experts – who had discussed and proposed it already for a long time  - but in the general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blic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这一举动引起了很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大的争议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——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并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不是在专家中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——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因为他们已经讨论并倡议了很长一段时间</a:t>
            </a:r>
            <a:r>
              <a:rPr lang="en-US" altLang="zh-CN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—</a:t>
            </a: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—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而是在普通民众中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 the end means higher actuarial reduction when retiring early</a:t>
            </a:r>
          </a:p>
          <a:p>
            <a:pPr marL="0" indent="0">
              <a:buNone/>
            </a:pPr>
            <a:r>
              <a:rPr lang="en-US" altLang="zh-CN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这最终意味着提前退休的更</a:t>
            </a:r>
            <a:r>
              <a:rPr lang="zh-CN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高的精算减</a:t>
            </a:r>
            <a:r>
              <a:rPr lang="zh-CN" alt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少了。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endParaRPr lang="de-D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820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878</TotalTime>
  <Words>1126</Words>
  <Application>Microsoft Macintosh PowerPoint</Application>
  <PresentationFormat>A4 纸张(210x297 毫米)</PresentationFormat>
  <Paragraphs>161</Paragraphs>
  <Slides>13</Slides>
  <Notes>1</Notes>
  <HiddenSlides>0</HiddenSlides>
  <MMClips>0</MMClips>
  <ScaleCrop>false</ScaleCrop>
  <HeadingPairs>
    <vt:vector size="8" baseType="variant">
      <vt:variant>
        <vt:lpstr>主题</vt:lpstr>
      </vt:variant>
      <vt:variant>
        <vt:i4>1</vt:i4>
      </vt:variant>
      <vt:variant>
        <vt:lpstr>嵌入的 OLE 服务器</vt:lpstr>
      </vt:variant>
      <vt:variant>
        <vt:i4>1</vt:i4>
      </vt:variant>
      <vt:variant>
        <vt:lpstr>幻灯片标题</vt:lpstr>
      </vt:variant>
      <vt:variant>
        <vt:i4>13</vt:i4>
      </vt:variant>
      <vt:variant>
        <vt:lpstr>自定义放映</vt:lpstr>
      </vt:variant>
      <vt:variant>
        <vt:i4>1</vt:i4>
      </vt:variant>
    </vt:vector>
  </HeadingPairs>
  <TitlesOfParts>
    <vt:vector size="16" baseType="lpstr">
      <vt:lpstr>SPRP_Correct Power Point Template v1</vt:lpstr>
      <vt:lpstr>think-cell Slide</vt:lpstr>
      <vt:lpstr>PowerPoint 演示文稿</vt:lpstr>
      <vt:lpstr> Introduction 简介 </vt:lpstr>
      <vt:lpstr>Main Characteristics 主要特征</vt:lpstr>
      <vt:lpstr>Main Characteristics 主要特征</vt:lpstr>
      <vt:lpstr>Reforms 改革</vt:lpstr>
      <vt:lpstr>Reforms 改革</vt:lpstr>
      <vt:lpstr>Reforms 改革</vt:lpstr>
      <vt:lpstr>Reforms 改革</vt:lpstr>
      <vt:lpstr>Reforms 改革</vt:lpstr>
      <vt:lpstr>Reforms 改革</vt:lpstr>
      <vt:lpstr>Reforms 改革</vt:lpstr>
      <vt:lpstr>Conclusion 结论</vt:lpstr>
      <vt:lpstr>Conclusion 结论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melon lee</cp:lastModifiedBy>
  <cp:revision>75</cp:revision>
  <cp:lastPrinted>2015-01-26T19:32:44Z</cp:lastPrinted>
  <dcterms:created xsi:type="dcterms:W3CDTF">2015-09-07T02:11:56Z</dcterms:created>
  <dcterms:modified xsi:type="dcterms:W3CDTF">2017-08-24T07:56:38Z</dcterms:modified>
</cp:coreProperties>
</file>